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48ea4906a6397fbfaf3ef096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BAF5E05A-7CB6-44EA-BCAC-55A4DC21C4B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FDE5C20F-0EE7-4D73-B4F9-180D6A2F7A25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410A2E0B-6F7A-4BEB-B2D2-814A8F410176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748B2BBF-4F06-41CE-BD7E-D69A5AEF7EC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5341CE45-A92B-47F2-8F0D-5C74243CC90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616FFC06-CCAA-4D3A-B504-3F9ADEEFF85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anuseio delicado dos produtos para maior eficiência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pt-BR" sz="800" dirty="0"/>
              <a:t>Valor: Eficiência, Flexibilidade</a:t>
            </a:r>
          </a:p>
          <a:p>
            <a:r>
              <a:rPr lang="pt-BR" sz="800" dirty="0"/>
              <a:t>Equipamento: </a:t>
            </a:r>
            <a:r>
              <a:rPr lang="pt-BR" sz="800" dirty="0" err="1"/>
              <a:t>Pal</a:t>
            </a:r>
            <a:r>
              <a:rPr lang="pt-BR" sz="800" dirty="0"/>
              <a:t>/</a:t>
            </a:r>
            <a:r>
              <a:rPr lang="pt-BR" sz="800" dirty="0" err="1"/>
              <a:t>Depal</a:t>
            </a:r>
            <a:r>
              <a:rPr lang="pt-BR" sz="800" dirty="0"/>
              <a:t> </a:t>
            </a:r>
          </a:p>
          <a:p>
            <a:r>
              <a:rPr lang="pt-BR" sz="800" dirty="0"/>
              <a:t>Código </a:t>
            </a:r>
            <a:r>
              <a:rPr lang="pt-BR" sz="800"/>
              <a:t>do catálogo: EOL031</a:t>
            </a:r>
            <a:endParaRPr lang="pt-BR" sz="8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533A6C7-8C31-4DFB-A9E4-4F3D23922BF7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AXOSMART</a:t>
            </a:r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95B83833-8EF5-4C81-AD44-0BA4557E1725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pt-BR" sz="1000" b="1" dirty="0"/>
              <a:t>Produtivida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 dirty="0"/>
              <a:t>Assegurar maior produtividade, precisão, eficiência e qualidade de embalagem, reforçada pela possibilidade a preensão vários pacotes no mesmo cicl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 dirty="0"/>
              <a:t>O dispositivo pode manusear todos os tipos de embalagens secundárias (caixas de papelão, pacotes e engradados) com extrema precisã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 dirty="0"/>
              <a:t>Ideal para manuseio mais delicado de pacotes/recipiente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 dirty="0"/>
              <a:t>Trocas rápidas de formato e padrões de paletização, completamente gerenciadas por software (dispensando ajustes manuais de mecanismos).</a:t>
            </a:r>
          </a:p>
          <a:p>
            <a:pPr>
              <a:buClr>
                <a:schemeClr val="accent4"/>
              </a:buClr>
            </a:pPr>
            <a:r>
              <a:rPr lang="pt-BR" sz="1000" b="1" dirty="0"/>
              <a:t>Manutenção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 dirty="0"/>
              <a:t>Baixa manutenção necessári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>
            <a:extLst>
              <a:ext uri="{FF2B5EF4-FFF2-40B4-BE49-F238E27FC236}">
                <a16:creationId xmlns:a16="http://schemas.microsoft.com/office/drawing/2014/main" id="{3D3E1DD3-3EC1-451E-A452-E79298D9F6B1}"/>
              </a:ext>
            </a:extLst>
          </p:cNvPr>
          <p:cNvSpPr/>
          <p:nvPr/>
        </p:nvSpPr>
        <p:spPr>
          <a:xfrm>
            <a:off x="4757021" y="2071626"/>
            <a:ext cx="389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pt-BR" sz="1000" dirty="0"/>
              <a:t>O </a:t>
            </a:r>
            <a:r>
              <a:rPr lang="pt-BR" sz="1000" b="1" dirty="0"/>
              <a:t>AXOSMART</a:t>
            </a:r>
            <a:r>
              <a:rPr lang="pt-BR" sz="1000" dirty="0"/>
              <a:t> ™ 1 ou 2 módulos é o equipamento ideal em termos de espaço de instalação e upgrade de manuseio de produto de entrada. </a:t>
            </a:r>
          </a:p>
          <a:p>
            <a:r>
              <a:rPr lang="pt-BR" sz="1000" dirty="0"/>
              <a:t>É composto por:</a:t>
            </a:r>
          </a:p>
          <a:p>
            <a:r>
              <a:rPr lang="pt-BR" sz="1000" dirty="0"/>
              <a:t>-Um transportador de dosagem que conta e separa os produtos.</a:t>
            </a:r>
          </a:p>
          <a:p>
            <a:r>
              <a:rPr lang="pt-BR" sz="1000" dirty="0"/>
              <a:t>-Uma mesa de transferência com correntes planas ou tela (para encaminhar e transportar os pacotes na velocidade correta).</a:t>
            </a:r>
          </a:p>
          <a:p>
            <a:r>
              <a:rPr lang="pt-BR" sz="1000" dirty="0"/>
              <a:t>-Um ou mais cabeçotes de preensão, que transferem e giram os pacotes para a posição correta.</a:t>
            </a:r>
          </a:p>
          <a:p>
            <a:r>
              <a:rPr lang="pt-BR" sz="1000" dirty="0"/>
              <a:t>-Uma mesa formadora de camadas para posicionar os pacotes de acordo com o padrão de paletização escolhid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52A7DF8F-20E6-4EF7-A253-902AA4427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349758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CDFC4623-4326-4EFC-98CB-D5E74F175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34" y="4312522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67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9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anuseio delicado dos produtos para maior eficiênc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2</cp:revision>
  <cp:lastPrinted>2017-09-01T14:01:41Z</cp:lastPrinted>
  <dcterms:created xsi:type="dcterms:W3CDTF">2017-07-10T14:51:51Z</dcterms:created>
  <dcterms:modified xsi:type="dcterms:W3CDTF">2019-06-26T14:1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1:38.0627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